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184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603.xml" ContentType="application/vnd.openxmlformats-officedocument.presentationml.tags+xml"/>
  <Override PartName="/ppt/notesSlides/notesSlide184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39" r:id="rId187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184.xml" Id="rId187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88.vml.rels>&#65279;<?xml version="1.0" encoding="utf-8"?><Relationships xmlns="http://schemas.openxmlformats.org/package/2006/relationships"><Relationship Type="http://schemas.openxmlformats.org/officeDocument/2006/relationships/image" Target="/ppt/media/image77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84.xml.rels>&#65279;<?xml version="1.0" encoding="utf-8"?><Relationships xmlns="http://schemas.openxmlformats.org/package/2006/relationships"><Relationship Type="http://schemas.openxmlformats.org/officeDocument/2006/relationships/slide" Target="/ppt/slides/slide184.xml" Id="rId2" /><Relationship Type="http://schemas.openxmlformats.org/officeDocument/2006/relationships/notesMaster" Target="/ppt/notesMasters/notesMaster1.xml" Id="rId1" /></Relationships>
</file>

<file path=ppt/notesSlides/notesSlide1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11171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84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603.xml" Id="rId2" /><Relationship Type="http://schemas.openxmlformats.org/officeDocument/2006/relationships/vmlDrawing" Target="/ppt/drawings/vmlDrawing188.vml" Id="rId1" /><Relationship Type="http://schemas.openxmlformats.org/officeDocument/2006/relationships/image" Target="/ppt/media/image77.emf" Id="rId6" /><Relationship Type="http://schemas.openxmlformats.org/officeDocument/2006/relationships/oleObject" Target="/ppt/embeddings/oleObject188.bin" Id="rId5" /><Relationship Type="http://schemas.openxmlformats.org/officeDocument/2006/relationships/notesSlide" Target="/ppt/notesSlides/notesSlide184.xml" Id="rId4" /></Relationships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A745A6B-B141-826D-E4E5-D4DCA480FA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3256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71" name="think-cell 幻灯片" r:id="rId5" imgW="383" imgH="384" progId="TCLayout.ActiveDocument.1">
                  <p:embed/>
                </p:oleObj>
              </mc:Choice>
              <mc:Fallback>
                <p:oleObj name="think-cell 幻灯片" r:id="rId5" imgW="383" imgH="38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745A6B-B141-826D-E4E5-D4DCA480FA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E2607D4-5F20-E06E-06CC-C28933B98E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Six building blocks I</a:t>
            </a:r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23602F2F-DF81-AA3C-B228-1802CEF96BFD}"/>
              </a:ext>
            </a:extLst>
          </p:cNvPr>
          <p:cNvSpPr>
            <a:spLocks/>
          </p:cNvSpPr>
          <p:nvPr/>
        </p:nvSpPr>
        <p:spPr bwMode="auto">
          <a:xfrm>
            <a:off x="3496870" y="2321334"/>
            <a:ext cx="1103654" cy="686301"/>
          </a:xfrm>
          <a:custGeom>
            <a:avLst/>
            <a:gdLst>
              <a:gd name="connsiteX0" fmla="*/ 211359 w 1103654"/>
              <a:gd name="connsiteY0" fmla="*/ 0 h 686301"/>
              <a:gd name="connsiteX1" fmla="*/ 1103654 w 1103654"/>
              <a:gd name="connsiteY1" fmla="*/ 0 h 686301"/>
              <a:gd name="connsiteX2" fmla="*/ 991662 w 1103654"/>
              <a:gd name="connsiteY2" fmla="*/ 686301 h 686301"/>
              <a:gd name="connsiteX3" fmla="*/ 0 w 1103654"/>
              <a:gd name="connsiteY3" fmla="*/ 686301 h 686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654" h="686301">
                <a:moveTo>
                  <a:pt x="211359" y="0"/>
                </a:moveTo>
                <a:lnTo>
                  <a:pt x="1103654" y="0"/>
                </a:lnTo>
                <a:lnTo>
                  <a:pt x="991662" y="686301"/>
                </a:lnTo>
                <a:lnTo>
                  <a:pt x="0" y="686301"/>
                </a:lnTo>
                <a:close/>
              </a:path>
            </a:pathLst>
          </a:cu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72000" tIns="0" rIns="0" bIns="0" anchor="ctr">
            <a:noAutofit/>
          </a:bodyPr>
          <a:lstStyle/>
          <a:p>
            <a:pPr algn="ctr" eaLnBrk="0" hangingPunct="0"/>
            <a:r>
              <a:rPr lang="en-US" sz="3600" b="1">
                <a:solidFill>
                  <a:schemeClr val="accent1"/>
                </a:solidFill>
              </a:rPr>
              <a:t>5</a:t>
            </a:r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F1A42F78-D20A-88DB-2F54-BEEC8B0538F0}"/>
              </a:ext>
            </a:extLst>
          </p:cNvPr>
          <p:cNvSpPr>
            <a:spLocks/>
          </p:cNvSpPr>
          <p:nvPr/>
        </p:nvSpPr>
        <p:spPr bwMode="auto">
          <a:xfrm>
            <a:off x="3261583" y="3085330"/>
            <a:ext cx="1224348" cy="686301"/>
          </a:xfrm>
          <a:custGeom>
            <a:avLst/>
            <a:gdLst>
              <a:gd name="connsiteX0" fmla="*/ 211359 w 1224348"/>
              <a:gd name="connsiteY0" fmla="*/ 0 h 686301"/>
              <a:gd name="connsiteX1" fmla="*/ 1224348 w 1224348"/>
              <a:gd name="connsiteY1" fmla="*/ 0 h 686301"/>
              <a:gd name="connsiteX2" fmla="*/ 1112356 w 1224348"/>
              <a:gd name="connsiteY2" fmla="*/ 686301 h 686301"/>
              <a:gd name="connsiteX3" fmla="*/ 0 w 1224348"/>
              <a:gd name="connsiteY3" fmla="*/ 686301 h 686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4348" h="686301">
                <a:moveTo>
                  <a:pt x="211359" y="0"/>
                </a:moveTo>
                <a:lnTo>
                  <a:pt x="1224348" y="0"/>
                </a:lnTo>
                <a:lnTo>
                  <a:pt x="1112356" y="686301"/>
                </a:lnTo>
                <a:lnTo>
                  <a:pt x="0" y="686301"/>
                </a:lnTo>
                <a:close/>
              </a:path>
            </a:pathLst>
          </a:cu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72000" tIns="0" rIns="0" bIns="0" anchor="ctr">
            <a:noAutofit/>
          </a:bodyPr>
          <a:lstStyle/>
          <a:p>
            <a:pPr algn="ctr" eaLnBrk="0" hangingPunct="0"/>
            <a:r>
              <a:rPr lang="en-US" sz="3600" b="1">
                <a:solidFill>
                  <a:schemeClr val="accent1"/>
                </a:solidFill>
              </a:rPr>
              <a:t>4</a:t>
            </a: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2E9B044F-274D-22CE-3436-97845716969F}"/>
              </a:ext>
            </a:extLst>
          </p:cNvPr>
          <p:cNvSpPr>
            <a:spLocks/>
          </p:cNvSpPr>
          <p:nvPr/>
        </p:nvSpPr>
        <p:spPr bwMode="auto">
          <a:xfrm>
            <a:off x="3028058" y="3849446"/>
            <a:ext cx="1332264" cy="680463"/>
          </a:xfrm>
          <a:custGeom>
            <a:avLst/>
            <a:gdLst>
              <a:gd name="connsiteX0" fmla="*/ 209561 w 1332264"/>
              <a:gd name="connsiteY0" fmla="*/ 0 h 680463"/>
              <a:gd name="connsiteX1" fmla="*/ 1332264 w 1332264"/>
              <a:gd name="connsiteY1" fmla="*/ 2412 h 680463"/>
              <a:gd name="connsiteX2" fmla="*/ 1228533 w 1332264"/>
              <a:gd name="connsiteY2" fmla="*/ 680463 h 680463"/>
              <a:gd name="connsiteX3" fmla="*/ 0 w 1332264"/>
              <a:gd name="connsiteY3" fmla="*/ 680463 h 680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2264" h="680463">
                <a:moveTo>
                  <a:pt x="209561" y="0"/>
                </a:moveTo>
                <a:lnTo>
                  <a:pt x="1332264" y="2412"/>
                </a:lnTo>
                <a:lnTo>
                  <a:pt x="1228533" y="680463"/>
                </a:lnTo>
                <a:lnTo>
                  <a:pt x="0" y="680463"/>
                </a:lnTo>
                <a:close/>
              </a:path>
            </a:pathLst>
          </a:cu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72000" tIns="0" rIns="0" bIns="0" anchor="ctr">
            <a:noAutofit/>
          </a:bodyPr>
          <a:lstStyle/>
          <a:p>
            <a:pPr algn="ctr" eaLnBrk="0" hangingPunct="0"/>
            <a:r>
              <a:rPr lang="en-US" sz="3600" b="1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5755A64E-15A3-CDC8-76D5-FA4E4D142CA5}"/>
              </a:ext>
            </a:extLst>
          </p:cNvPr>
          <p:cNvSpPr>
            <a:spLocks/>
          </p:cNvSpPr>
          <p:nvPr/>
        </p:nvSpPr>
        <p:spPr bwMode="auto">
          <a:xfrm>
            <a:off x="2792771" y="4607731"/>
            <a:ext cx="1450204" cy="686173"/>
          </a:xfrm>
          <a:custGeom>
            <a:avLst/>
            <a:gdLst>
              <a:gd name="connsiteX0" fmla="*/ 211320 w 1450204"/>
              <a:gd name="connsiteY0" fmla="*/ 0 h 686173"/>
              <a:gd name="connsiteX1" fmla="*/ 1450204 w 1450204"/>
              <a:gd name="connsiteY1" fmla="*/ 2403 h 686173"/>
              <a:gd name="connsiteX2" fmla="*/ 1344267 w 1450204"/>
              <a:gd name="connsiteY2" fmla="*/ 686173 h 686173"/>
              <a:gd name="connsiteX3" fmla="*/ 0 w 1450204"/>
              <a:gd name="connsiteY3" fmla="*/ 686173 h 686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0204" h="686173">
                <a:moveTo>
                  <a:pt x="211320" y="0"/>
                </a:moveTo>
                <a:lnTo>
                  <a:pt x="1450204" y="2403"/>
                </a:lnTo>
                <a:lnTo>
                  <a:pt x="1344267" y="686173"/>
                </a:lnTo>
                <a:lnTo>
                  <a:pt x="0" y="686173"/>
                </a:lnTo>
                <a:close/>
              </a:path>
            </a:pathLst>
          </a:cu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72000" tIns="0" rIns="0" bIns="0" anchor="ctr">
            <a:noAutofit/>
          </a:bodyPr>
          <a:lstStyle/>
          <a:p>
            <a:pPr algn="ctr" eaLnBrk="0" hangingPunct="0"/>
            <a:r>
              <a:rPr lang="en-US" sz="3600" b="1">
                <a:solidFill>
                  <a:schemeClr val="accent1"/>
                </a:solidFill>
              </a:rPr>
              <a:t>2</a:t>
            </a:r>
          </a:p>
        </p:txBody>
      </p:sp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212F95C8-655F-F379-2F91-CD430F97787C}"/>
              </a:ext>
            </a:extLst>
          </p:cNvPr>
          <p:cNvSpPr>
            <a:spLocks/>
          </p:cNvSpPr>
          <p:nvPr/>
        </p:nvSpPr>
        <p:spPr bwMode="auto">
          <a:xfrm>
            <a:off x="2557485" y="5371598"/>
            <a:ext cx="1562636" cy="686301"/>
          </a:xfrm>
          <a:custGeom>
            <a:avLst/>
            <a:gdLst>
              <a:gd name="connsiteX0" fmla="*/ 211359 w 1562636"/>
              <a:gd name="connsiteY0" fmla="*/ 0 h 686301"/>
              <a:gd name="connsiteX1" fmla="*/ 1562636 w 1562636"/>
              <a:gd name="connsiteY1" fmla="*/ 0 h 686301"/>
              <a:gd name="connsiteX2" fmla="*/ 1458854 w 1562636"/>
              <a:gd name="connsiteY2" fmla="*/ 686301 h 686301"/>
              <a:gd name="connsiteX3" fmla="*/ 0 w 1562636"/>
              <a:gd name="connsiteY3" fmla="*/ 686301 h 686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62636" h="686301">
                <a:moveTo>
                  <a:pt x="211359" y="0"/>
                </a:moveTo>
                <a:lnTo>
                  <a:pt x="1562636" y="0"/>
                </a:lnTo>
                <a:lnTo>
                  <a:pt x="1458854" y="686301"/>
                </a:lnTo>
                <a:lnTo>
                  <a:pt x="0" y="686301"/>
                </a:lnTo>
                <a:close/>
              </a:path>
            </a:pathLst>
          </a:cu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72000" tIns="0" rIns="0" bIns="0" anchor="ctr">
            <a:noAutofit/>
          </a:bodyPr>
          <a:lstStyle/>
          <a:p>
            <a:pPr algn="ctr" eaLnBrk="0" hangingPunct="0"/>
            <a:r>
              <a:rPr lang="en-US" sz="3600" b="1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8380E168-1783-66E4-AF55-43485DB53190}"/>
              </a:ext>
            </a:extLst>
          </p:cNvPr>
          <p:cNvSpPr>
            <a:spLocks/>
          </p:cNvSpPr>
          <p:nvPr/>
        </p:nvSpPr>
        <p:spPr bwMode="auto">
          <a:xfrm>
            <a:off x="3732156" y="1557338"/>
            <a:ext cx="990581" cy="686301"/>
          </a:xfrm>
          <a:custGeom>
            <a:avLst/>
            <a:gdLst>
              <a:gd name="connsiteX0" fmla="*/ 189659 w 990581"/>
              <a:gd name="connsiteY0" fmla="*/ 0 h 686301"/>
              <a:gd name="connsiteX1" fmla="*/ 990581 w 990581"/>
              <a:gd name="connsiteY1" fmla="*/ 0 h 686301"/>
              <a:gd name="connsiteX2" fmla="*/ 878513 w 990581"/>
              <a:gd name="connsiteY2" fmla="*/ 686301 h 686301"/>
              <a:gd name="connsiteX3" fmla="*/ 0 w 990581"/>
              <a:gd name="connsiteY3" fmla="*/ 686301 h 686301"/>
              <a:gd name="connsiteX4" fmla="*/ 211359 w 990581"/>
              <a:gd name="connsiteY4" fmla="*/ 1 h 686301"/>
              <a:gd name="connsiteX5" fmla="*/ 189658 w 990581"/>
              <a:gd name="connsiteY5" fmla="*/ 1 h 686301"/>
              <a:gd name="connsiteX0" fmla="*/ 189658 w 990581"/>
              <a:gd name="connsiteY0" fmla="*/ 1 h 686301"/>
              <a:gd name="connsiteX1" fmla="*/ 990581 w 990581"/>
              <a:gd name="connsiteY1" fmla="*/ 0 h 686301"/>
              <a:gd name="connsiteX2" fmla="*/ 878513 w 990581"/>
              <a:gd name="connsiteY2" fmla="*/ 686301 h 686301"/>
              <a:gd name="connsiteX3" fmla="*/ 0 w 990581"/>
              <a:gd name="connsiteY3" fmla="*/ 686301 h 686301"/>
              <a:gd name="connsiteX4" fmla="*/ 211359 w 990581"/>
              <a:gd name="connsiteY4" fmla="*/ 1 h 686301"/>
              <a:gd name="connsiteX5" fmla="*/ 189658 w 990581"/>
              <a:gd name="connsiteY5" fmla="*/ 1 h 686301"/>
              <a:gd name="connsiteX0" fmla="*/ 211359 w 990581"/>
              <a:gd name="connsiteY0" fmla="*/ 1 h 686301"/>
              <a:gd name="connsiteX1" fmla="*/ 990581 w 990581"/>
              <a:gd name="connsiteY1" fmla="*/ 0 h 686301"/>
              <a:gd name="connsiteX2" fmla="*/ 878513 w 990581"/>
              <a:gd name="connsiteY2" fmla="*/ 686301 h 686301"/>
              <a:gd name="connsiteX3" fmla="*/ 0 w 990581"/>
              <a:gd name="connsiteY3" fmla="*/ 686301 h 686301"/>
              <a:gd name="connsiteX4" fmla="*/ 211359 w 990581"/>
              <a:gd name="connsiteY4" fmla="*/ 1 h 686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581" h="686301">
                <a:moveTo>
                  <a:pt x="211359" y="1"/>
                </a:moveTo>
                <a:lnTo>
                  <a:pt x="990581" y="0"/>
                </a:lnTo>
                <a:lnTo>
                  <a:pt x="878513" y="686301"/>
                </a:lnTo>
                <a:lnTo>
                  <a:pt x="0" y="686301"/>
                </a:lnTo>
                <a:lnTo>
                  <a:pt x="211359" y="1"/>
                </a:lnTo>
                <a:close/>
              </a:path>
            </a:pathLst>
          </a:cu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72000" tIns="0" rIns="0" bIns="0" anchor="ctr">
            <a:noAutofit/>
          </a:bodyPr>
          <a:lstStyle/>
          <a:p>
            <a:pPr algn="ctr" eaLnBrk="0" hangingPunct="0"/>
            <a:r>
              <a:rPr lang="en-US" sz="3600" b="1">
                <a:solidFill>
                  <a:schemeClr val="accent1"/>
                </a:solidFill>
              </a:rPr>
              <a:t>6</a:t>
            </a:r>
          </a:p>
        </p:txBody>
      </p:sp>
      <p:sp>
        <p:nvSpPr>
          <p:cNvPr id="14" name="Freihandform 42">
            <a:extLst>
              <a:ext uri="{FF2B5EF4-FFF2-40B4-BE49-F238E27FC236}">
                <a16:creationId xmlns:a16="http://schemas.microsoft.com/office/drawing/2014/main" id="{C4D8880F-1757-E0C2-3174-045E841E4D90}"/>
              </a:ext>
            </a:extLst>
          </p:cNvPr>
          <p:cNvSpPr>
            <a:spLocks/>
          </p:cNvSpPr>
          <p:nvPr/>
        </p:nvSpPr>
        <p:spPr bwMode="auto">
          <a:xfrm>
            <a:off x="4707221" y="1557338"/>
            <a:ext cx="7046745" cy="686301"/>
          </a:xfrm>
          <a:custGeom>
            <a:avLst/>
            <a:gdLst>
              <a:gd name="connsiteX0" fmla="*/ 94698 w 5991059"/>
              <a:gd name="connsiteY0" fmla="*/ 0 h 731500"/>
              <a:gd name="connsiteX1" fmla="*/ 5991059 w 5991059"/>
              <a:gd name="connsiteY1" fmla="*/ 0 h 731500"/>
              <a:gd name="connsiteX2" fmla="*/ 5991059 w 5991059"/>
              <a:gd name="connsiteY2" fmla="*/ 731500 h 731500"/>
              <a:gd name="connsiteX3" fmla="*/ 0 w 5991059"/>
              <a:gd name="connsiteY3" fmla="*/ 731500 h 73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1059" h="731500">
                <a:moveTo>
                  <a:pt x="94698" y="0"/>
                </a:moveTo>
                <a:lnTo>
                  <a:pt x="5991059" y="0"/>
                </a:lnTo>
                <a:lnTo>
                  <a:pt x="5991059" y="731500"/>
                </a:lnTo>
                <a:lnTo>
                  <a:pt x="0" y="731500"/>
                </a:lnTo>
                <a:close/>
              </a:path>
            </a:pathLst>
          </a:cu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252000" tIns="0" rIns="72000" bIns="0" anchor="ctr">
            <a:noAutofit/>
          </a:bodyPr>
          <a:lstStyle/>
          <a:p>
            <a:pPr marR="0" lvl="0" algn="l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Lorem ipsum</a:t>
            </a:r>
          </a:p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adipiscing</a:t>
            </a:r>
            <a:r>
              <a:rPr lang="en-US" sz="120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5" name="Freihandform 52">
            <a:extLst>
              <a:ext uri="{FF2B5EF4-FFF2-40B4-BE49-F238E27FC236}">
                <a16:creationId xmlns:a16="http://schemas.microsoft.com/office/drawing/2014/main" id="{9168B9FD-53EF-EA5C-A0AF-F594A2D26564}"/>
              </a:ext>
            </a:extLst>
          </p:cNvPr>
          <p:cNvSpPr>
            <a:spLocks/>
          </p:cNvSpPr>
          <p:nvPr/>
        </p:nvSpPr>
        <p:spPr bwMode="auto">
          <a:xfrm>
            <a:off x="4101538" y="5371598"/>
            <a:ext cx="7649138" cy="686301"/>
          </a:xfrm>
          <a:custGeom>
            <a:avLst/>
            <a:gdLst>
              <a:gd name="connsiteX0" fmla="*/ 94697 w 6504677"/>
              <a:gd name="connsiteY0" fmla="*/ 0 h 731500"/>
              <a:gd name="connsiteX1" fmla="*/ 6504677 w 6504677"/>
              <a:gd name="connsiteY1" fmla="*/ 0 h 731500"/>
              <a:gd name="connsiteX2" fmla="*/ 6504677 w 6504677"/>
              <a:gd name="connsiteY2" fmla="*/ 731500 h 731500"/>
              <a:gd name="connsiteX3" fmla="*/ 0 w 6504677"/>
              <a:gd name="connsiteY3" fmla="*/ 731500 h 731500"/>
              <a:gd name="connsiteX0" fmla="*/ 104871 w 6514851"/>
              <a:gd name="connsiteY0" fmla="*/ 0 h 735429"/>
              <a:gd name="connsiteX1" fmla="*/ 6514851 w 6514851"/>
              <a:gd name="connsiteY1" fmla="*/ 0 h 735429"/>
              <a:gd name="connsiteX2" fmla="*/ 6514851 w 6514851"/>
              <a:gd name="connsiteY2" fmla="*/ 731500 h 735429"/>
              <a:gd name="connsiteX3" fmla="*/ 0 w 6514851"/>
              <a:gd name="connsiteY3" fmla="*/ 735429 h 735429"/>
              <a:gd name="connsiteX4" fmla="*/ 104871 w 6514851"/>
              <a:gd name="connsiteY4" fmla="*/ 0 h 735429"/>
              <a:gd name="connsiteX0" fmla="*/ 93227 w 6503207"/>
              <a:gd name="connsiteY0" fmla="*/ 0 h 735429"/>
              <a:gd name="connsiteX1" fmla="*/ 6503207 w 6503207"/>
              <a:gd name="connsiteY1" fmla="*/ 0 h 735429"/>
              <a:gd name="connsiteX2" fmla="*/ 6503207 w 6503207"/>
              <a:gd name="connsiteY2" fmla="*/ 731500 h 735429"/>
              <a:gd name="connsiteX3" fmla="*/ 0 w 6503207"/>
              <a:gd name="connsiteY3" fmla="*/ 735429 h 735429"/>
              <a:gd name="connsiteX4" fmla="*/ 93227 w 6503207"/>
              <a:gd name="connsiteY4" fmla="*/ 0 h 735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03207" h="735429">
                <a:moveTo>
                  <a:pt x="93227" y="0"/>
                </a:moveTo>
                <a:lnTo>
                  <a:pt x="6503207" y="0"/>
                </a:lnTo>
                <a:lnTo>
                  <a:pt x="6503207" y="731500"/>
                </a:lnTo>
                <a:lnTo>
                  <a:pt x="0" y="735429"/>
                </a:lnTo>
                <a:cubicBezTo>
                  <a:pt x="31566" y="491596"/>
                  <a:pt x="61661" y="243833"/>
                  <a:pt x="93227" y="0"/>
                </a:cubicBezTo>
                <a:close/>
              </a:path>
            </a:pathLst>
          </a:cu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252000" tIns="0" rIns="72000" bIns="0" anchor="ctr">
            <a:noAutofit/>
          </a:bodyPr>
          <a:lstStyle/>
          <a:p>
            <a:pPr marR="0" lvl="0" algn="l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Lorem ipsum</a:t>
            </a:r>
          </a:p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adipiscing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6" name="Freihandform 46">
            <a:extLst>
              <a:ext uri="{FF2B5EF4-FFF2-40B4-BE49-F238E27FC236}">
                <a16:creationId xmlns:a16="http://schemas.microsoft.com/office/drawing/2014/main" id="{28CECC2B-CDC2-A70B-CEE2-E8B735A3E7AE}"/>
              </a:ext>
            </a:extLst>
          </p:cNvPr>
          <p:cNvSpPr>
            <a:spLocks/>
          </p:cNvSpPr>
          <p:nvPr/>
        </p:nvSpPr>
        <p:spPr bwMode="auto">
          <a:xfrm>
            <a:off x="4468671" y="3085330"/>
            <a:ext cx="7283998" cy="686301"/>
          </a:xfrm>
          <a:custGeom>
            <a:avLst/>
            <a:gdLst>
              <a:gd name="connsiteX0" fmla="*/ 94697 w 6196506"/>
              <a:gd name="connsiteY0" fmla="*/ 0 h 731500"/>
              <a:gd name="connsiteX1" fmla="*/ 6196506 w 6196506"/>
              <a:gd name="connsiteY1" fmla="*/ 0 h 731500"/>
              <a:gd name="connsiteX2" fmla="*/ 6196506 w 6196506"/>
              <a:gd name="connsiteY2" fmla="*/ 731500 h 731500"/>
              <a:gd name="connsiteX3" fmla="*/ 0 w 6196506"/>
              <a:gd name="connsiteY3" fmla="*/ 731500 h 731500"/>
              <a:gd name="connsiteX0" fmla="*/ 87712 w 6189521"/>
              <a:gd name="connsiteY0" fmla="*/ 0 h 731500"/>
              <a:gd name="connsiteX1" fmla="*/ 6189521 w 6189521"/>
              <a:gd name="connsiteY1" fmla="*/ 0 h 731500"/>
              <a:gd name="connsiteX2" fmla="*/ 6189521 w 6189521"/>
              <a:gd name="connsiteY2" fmla="*/ 731500 h 731500"/>
              <a:gd name="connsiteX3" fmla="*/ 0 w 6189521"/>
              <a:gd name="connsiteY3" fmla="*/ 731500 h 731500"/>
              <a:gd name="connsiteX4" fmla="*/ 87712 w 6189521"/>
              <a:gd name="connsiteY4" fmla="*/ 0 h 731500"/>
              <a:gd name="connsiteX0" fmla="*/ 90214 w 6192023"/>
              <a:gd name="connsiteY0" fmla="*/ 0 h 737322"/>
              <a:gd name="connsiteX1" fmla="*/ 6192023 w 6192023"/>
              <a:gd name="connsiteY1" fmla="*/ 0 h 737322"/>
              <a:gd name="connsiteX2" fmla="*/ 6192023 w 6192023"/>
              <a:gd name="connsiteY2" fmla="*/ 731500 h 737322"/>
              <a:gd name="connsiteX3" fmla="*/ 0 w 6192023"/>
              <a:gd name="connsiteY3" fmla="*/ 737322 h 737322"/>
              <a:gd name="connsiteX4" fmla="*/ 90214 w 6192023"/>
              <a:gd name="connsiteY4" fmla="*/ 0 h 737322"/>
              <a:gd name="connsiteX0" fmla="*/ 86080 w 6187889"/>
              <a:gd name="connsiteY0" fmla="*/ 0 h 739727"/>
              <a:gd name="connsiteX1" fmla="*/ 6187889 w 6187889"/>
              <a:gd name="connsiteY1" fmla="*/ 0 h 739727"/>
              <a:gd name="connsiteX2" fmla="*/ 6187889 w 6187889"/>
              <a:gd name="connsiteY2" fmla="*/ 731500 h 739727"/>
              <a:gd name="connsiteX3" fmla="*/ 0 w 6187889"/>
              <a:gd name="connsiteY3" fmla="*/ 739727 h 739727"/>
              <a:gd name="connsiteX4" fmla="*/ 86080 w 6187889"/>
              <a:gd name="connsiteY4" fmla="*/ 0 h 739727"/>
              <a:gd name="connsiteX0" fmla="*/ 90214 w 6192023"/>
              <a:gd name="connsiteY0" fmla="*/ 0 h 739727"/>
              <a:gd name="connsiteX1" fmla="*/ 6192023 w 6192023"/>
              <a:gd name="connsiteY1" fmla="*/ 0 h 739727"/>
              <a:gd name="connsiteX2" fmla="*/ 6192023 w 6192023"/>
              <a:gd name="connsiteY2" fmla="*/ 731500 h 739727"/>
              <a:gd name="connsiteX3" fmla="*/ 0 w 6192023"/>
              <a:gd name="connsiteY3" fmla="*/ 739727 h 739727"/>
              <a:gd name="connsiteX4" fmla="*/ 90214 w 6192023"/>
              <a:gd name="connsiteY4" fmla="*/ 0 h 739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92023" h="739727">
                <a:moveTo>
                  <a:pt x="90214" y="0"/>
                </a:moveTo>
                <a:lnTo>
                  <a:pt x="6192023" y="0"/>
                </a:lnTo>
                <a:lnTo>
                  <a:pt x="6192023" y="731500"/>
                </a:lnTo>
                <a:lnTo>
                  <a:pt x="0" y="739727"/>
                </a:lnTo>
                <a:cubicBezTo>
                  <a:pt x="31566" y="495894"/>
                  <a:pt x="58648" y="243833"/>
                  <a:pt x="90214" y="0"/>
                </a:cubicBezTo>
                <a:close/>
              </a:path>
            </a:pathLst>
          </a:cu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252000" tIns="0" rIns="72000" bIns="0" anchor="ctr">
            <a:noAutofit/>
          </a:bodyPr>
          <a:lstStyle/>
          <a:p>
            <a:pPr marR="0" lvl="0" algn="l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Lorem ipsum</a:t>
            </a:r>
          </a:p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adipiscing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7" name="Freihandform 48">
            <a:extLst>
              <a:ext uri="{FF2B5EF4-FFF2-40B4-BE49-F238E27FC236}">
                <a16:creationId xmlns:a16="http://schemas.microsoft.com/office/drawing/2014/main" id="{C3DE554D-2E36-043F-1AAE-53D0A0E66135}"/>
              </a:ext>
            </a:extLst>
          </p:cNvPr>
          <p:cNvSpPr>
            <a:spLocks/>
          </p:cNvSpPr>
          <p:nvPr/>
        </p:nvSpPr>
        <p:spPr bwMode="auto">
          <a:xfrm>
            <a:off x="4351644" y="3849326"/>
            <a:ext cx="7400390" cy="680582"/>
          </a:xfrm>
          <a:custGeom>
            <a:avLst/>
            <a:gdLst>
              <a:gd name="connsiteX0" fmla="*/ 94698 w 6299230"/>
              <a:gd name="connsiteY0" fmla="*/ 0 h 731500"/>
              <a:gd name="connsiteX1" fmla="*/ 6299230 w 6299230"/>
              <a:gd name="connsiteY1" fmla="*/ 0 h 731500"/>
              <a:gd name="connsiteX2" fmla="*/ 6299230 w 6299230"/>
              <a:gd name="connsiteY2" fmla="*/ 731500 h 731500"/>
              <a:gd name="connsiteX3" fmla="*/ 0 w 6299230"/>
              <a:gd name="connsiteY3" fmla="*/ 731500 h 731500"/>
              <a:gd name="connsiteX0" fmla="*/ 87192 w 6291724"/>
              <a:gd name="connsiteY0" fmla="*/ 0 h 731500"/>
              <a:gd name="connsiteX1" fmla="*/ 6291724 w 6291724"/>
              <a:gd name="connsiteY1" fmla="*/ 0 h 731500"/>
              <a:gd name="connsiteX2" fmla="*/ 6291724 w 6291724"/>
              <a:gd name="connsiteY2" fmla="*/ 731500 h 731500"/>
              <a:gd name="connsiteX3" fmla="*/ 0 w 6291724"/>
              <a:gd name="connsiteY3" fmla="*/ 731500 h 731500"/>
              <a:gd name="connsiteX4" fmla="*/ 87192 w 6291724"/>
              <a:gd name="connsiteY4" fmla="*/ 0 h 73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1724" h="731500">
                <a:moveTo>
                  <a:pt x="87192" y="0"/>
                </a:moveTo>
                <a:lnTo>
                  <a:pt x="6291724" y="0"/>
                </a:lnTo>
                <a:lnTo>
                  <a:pt x="6291724" y="731500"/>
                </a:lnTo>
                <a:lnTo>
                  <a:pt x="0" y="731500"/>
                </a:lnTo>
                <a:cubicBezTo>
                  <a:pt x="31566" y="487667"/>
                  <a:pt x="55626" y="243833"/>
                  <a:pt x="87192" y="0"/>
                </a:cubicBezTo>
                <a:close/>
              </a:path>
            </a:pathLst>
          </a:cu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252000" tIns="0" rIns="72000" bIns="0" anchor="ctr">
            <a:noAutofit/>
          </a:bodyPr>
          <a:lstStyle/>
          <a:p>
            <a:pPr marR="0" lvl="0" algn="l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Lorem ipsum</a:t>
            </a:r>
          </a:p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adipiscing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8" name="Freihandform 44">
            <a:extLst>
              <a:ext uri="{FF2B5EF4-FFF2-40B4-BE49-F238E27FC236}">
                <a16:creationId xmlns:a16="http://schemas.microsoft.com/office/drawing/2014/main" id="{A55D15C3-56F2-EC49-E680-ECFDF3869DBE}"/>
              </a:ext>
            </a:extLst>
          </p:cNvPr>
          <p:cNvSpPr>
            <a:spLocks/>
          </p:cNvSpPr>
          <p:nvPr/>
        </p:nvSpPr>
        <p:spPr bwMode="auto">
          <a:xfrm>
            <a:off x="4580848" y="2321334"/>
            <a:ext cx="7172432" cy="686301"/>
          </a:xfrm>
          <a:custGeom>
            <a:avLst/>
            <a:gdLst>
              <a:gd name="connsiteX0" fmla="*/ 94697 w 6093782"/>
              <a:gd name="connsiteY0" fmla="*/ 0 h 731500"/>
              <a:gd name="connsiteX1" fmla="*/ 6093782 w 6093782"/>
              <a:gd name="connsiteY1" fmla="*/ 0 h 731500"/>
              <a:gd name="connsiteX2" fmla="*/ 6093782 w 6093782"/>
              <a:gd name="connsiteY2" fmla="*/ 731500 h 731500"/>
              <a:gd name="connsiteX3" fmla="*/ 0 w 6093782"/>
              <a:gd name="connsiteY3" fmla="*/ 731500 h 731500"/>
              <a:gd name="connsiteX0" fmla="*/ 92630 w 6091715"/>
              <a:gd name="connsiteY0" fmla="*/ 0 h 738715"/>
              <a:gd name="connsiteX1" fmla="*/ 6091715 w 6091715"/>
              <a:gd name="connsiteY1" fmla="*/ 0 h 738715"/>
              <a:gd name="connsiteX2" fmla="*/ 6091715 w 6091715"/>
              <a:gd name="connsiteY2" fmla="*/ 731500 h 738715"/>
              <a:gd name="connsiteX3" fmla="*/ 0 w 6091715"/>
              <a:gd name="connsiteY3" fmla="*/ 738715 h 738715"/>
              <a:gd name="connsiteX4" fmla="*/ 92630 w 6091715"/>
              <a:gd name="connsiteY4" fmla="*/ 0 h 738715"/>
              <a:gd name="connsiteX0" fmla="*/ 98832 w 6097917"/>
              <a:gd name="connsiteY0" fmla="*/ 0 h 738715"/>
              <a:gd name="connsiteX1" fmla="*/ 6097917 w 6097917"/>
              <a:gd name="connsiteY1" fmla="*/ 0 h 738715"/>
              <a:gd name="connsiteX2" fmla="*/ 6097917 w 6097917"/>
              <a:gd name="connsiteY2" fmla="*/ 731500 h 738715"/>
              <a:gd name="connsiteX3" fmla="*/ 0 w 6097917"/>
              <a:gd name="connsiteY3" fmla="*/ 738715 h 738715"/>
              <a:gd name="connsiteX4" fmla="*/ 98832 w 6097917"/>
              <a:gd name="connsiteY4" fmla="*/ 0 h 738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7917" h="738715">
                <a:moveTo>
                  <a:pt x="98832" y="0"/>
                </a:moveTo>
                <a:lnTo>
                  <a:pt x="6097917" y="0"/>
                </a:lnTo>
                <a:lnTo>
                  <a:pt x="6097917" y="731500"/>
                </a:lnTo>
                <a:lnTo>
                  <a:pt x="0" y="738715"/>
                </a:lnTo>
                <a:cubicBezTo>
                  <a:pt x="31566" y="494882"/>
                  <a:pt x="67266" y="243833"/>
                  <a:pt x="98832" y="0"/>
                </a:cubicBezTo>
                <a:close/>
              </a:path>
            </a:pathLst>
          </a:cu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252000" tIns="0" rIns="72000" bIns="0" anchor="ctr">
            <a:noAutofit/>
          </a:bodyPr>
          <a:lstStyle/>
          <a:p>
            <a:pPr marR="0" lvl="0" algn="l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Lorem ipsum</a:t>
            </a:r>
          </a:p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adipiscing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9" name="Freihandform 50">
            <a:extLst>
              <a:ext uri="{FF2B5EF4-FFF2-40B4-BE49-F238E27FC236}">
                <a16:creationId xmlns:a16="http://schemas.microsoft.com/office/drawing/2014/main" id="{DA7A6F30-52DE-87BF-6B5E-19FE610C366D}"/>
              </a:ext>
            </a:extLst>
          </p:cNvPr>
          <p:cNvSpPr>
            <a:spLocks/>
          </p:cNvSpPr>
          <p:nvPr/>
        </p:nvSpPr>
        <p:spPr bwMode="auto">
          <a:xfrm>
            <a:off x="4226402" y="4607603"/>
            <a:ext cx="7524952" cy="686301"/>
          </a:xfrm>
          <a:custGeom>
            <a:avLst/>
            <a:gdLst>
              <a:gd name="connsiteX0" fmla="*/ 94698 w 6401954"/>
              <a:gd name="connsiteY0" fmla="*/ 0 h 731500"/>
              <a:gd name="connsiteX1" fmla="*/ 6401954 w 6401954"/>
              <a:gd name="connsiteY1" fmla="*/ 0 h 731500"/>
              <a:gd name="connsiteX2" fmla="*/ 6401954 w 6401954"/>
              <a:gd name="connsiteY2" fmla="*/ 731500 h 731500"/>
              <a:gd name="connsiteX3" fmla="*/ 0 w 6401954"/>
              <a:gd name="connsiteY3" fmla="*/ 731500 h 731500"/>
              <a:gd name="connsiteX0" fmla="*/ 100012 w 6407268"/>
              <a:gd name="connsiteY0" fmla="*/ 0 h 737681"/>
              <a:gd name="connsiteX1" fmla="*/ 6407268 w 6407268"/>
              <a:gd name="connsiteY1" fmla="*/ 0 h 737681"/>
              <a:gd name="connsiteX2" fmla="*/ 6407268 w 6407268"/>
              <a:gd name="connsiteY2" fmla="*/ 731500 h 737681"/>
              <a:gd name="connsiteX3" fmla="*/ 0 w 6407268"/>
              <a:gd name="connsiteY3" fmla="*/ 737681 h 737681"/>
              <a:gd name="connsiteX4" fmla="*/ 100012 w 6407268"/>
              <a:gd name="connsiteY4" fmla="*/ 0 h 737681"/>
              <a:gd name="connsiteX0" fmla="*/ 97355 w 6404611"/>
              <a:gd name="connsiteY0" fmla="*/ 0 h 731500"/>
              <a:gd name="connsiteX1" fmla="*/ 6404611 w 6404611"/>
              <a:gd name="connsiteY1" fmla="*/ 0 h 731500"/>
              <a:gd name="connsiteX2" fmla="*/ 6404611 w 6404611"/>
              <a:gd name="connsiteY2" fmla="*/ 731500 h 731500"/>
              <a:gd name="connsiteX3" fmla="*/ 0 w 6404611"/>
              <a:gd name="connsiteY3" fmla="*/ 728409 h 731500"/>
              <a:gd name="connsiteX4" fmla="*/ 97355 w 6404611"/>
              <a:gd name="connsiteY4" fmla="*/ 0 h 731500"/>
              <a:gd name="connsiteX0" fmla="*/ 90368 w 6397624"/>
              <a:gd name="connsiteY0" fmla="*/ 0 h 731500"/>
              <a:gd name="connsiteX1" fmla="*/ 6397624 w 6397624"/>
              <a:gd name="connsiteY1" fmla="*/ 0 h 731500"/>
              <a:gd name="connsiteX2" fmla="*/ 6397624 w 6397624"/>
              <a:gd name="connsiteY2" fmla="*/ 731500 h 731500"/>
              <a:gd name="connsiteX3" fmla="*/ 0 w 6397624"/>
              <a:gd name="connsiteY3" fmla="*/ 731118 h 731500"/>
              <a:gd name="connsiteX4" fmla="*/ 90368 w 6397624"/>
              <a:gd name="connsiteY4" fmla="*/ 0 h 73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97624" h="731500">
                <a:moveTo>
                  <a:pt x="90368" y="0"/>
                </a:moveTo>
                <a:lnTo>
                  <a:pt x="6397624" y="0"/>
                </a:lnTo>
                <a:lnTo>
                  <a:pt x="6397624" y="731500"/>
                </a:lnTo>
                <a:lnTo>
                  <a:pt x="0" y="731118"/>
                </a:lnTo>
                <a:cubicBezTo>
                  <a:pt x="31566" y="487285"/>
                  <a:pt x="58802" y="243833"/>
                  <a:pt x="90368" y="0"/>
                </a:cubicBezTo>
                <a:close/>
              </a:path>
            </a:pathLst>
          </a:cu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252000" tIns="0" rIns="72000" bIns="0" anchor="ctr">
            <a:noAutofit/>
          </a:bodyPr>
          <a:lstStyle/>
          <a:p>
            <a:pPr marR="0" lvl="0" algn="l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Lorem ipsum</a:t>
            </a:r>
          </a:p>
          <a:p>
            <a:pPr marL="0" marR="0" lvl="0" indent="0" algn="l" defTabSz="108763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adipiscing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90277B68-2FC3-C207-12DF-A8852BF2F57E}"/>
              </a:ext>
            </a:extLst>
          </p:cNvPr>
          <p:cNvSpPr>
            <a:spLocks/>
          </p:cNvSpPr>
          <p:nvPr/>
        </p:nvSpPr>
        <p:spPr bwMode="auto">
          <a:xfrm>
            <a:off x="407988" y="1557339"/>
            <a:ext cx="3447732" cy="4500560"/>
          </a:xfrm>
          <a:custGeom>
            <a:avLst/>
            <a:gdLst>
              <a:gd name="connsiteX0" fmla="*/ 0 w 2805290"/>
              <a:gd name="connsiteY0" fmla="*/ 0 h 4330699"/>
              <a:gd name="connsiteX1" fmla="*/ 2805290 w 2805290"/>
              <a:gd name="connsiteY1" fmla="*/ 0 h 4330699"/>
              <a:gd name="connsiteX2" fmla="*/ 2805290 w 2805290"/>
              <a:gd name="connsiteY2" fmla="*/ 4330699 h 4330699"/>
              <a:gd name="connsiteX3" fmla="*/ 0 w 2805290"/>
              <a:gd name="connsiteY3" fmla="*/ 4330699 h 4330699"/>
              <a:gd name="connsiteX4" fmla="*/ 0 w 2805290"/>
              <a:gd name="connsiteY4" fmla="*/ 0 h 4330699"/>
              <a:gd name="connsiteX0" fmla="*/ 0 w 2805290"/>
              <a:gd name="connsiteY0" fmla="*/ 0 h 4330699"/>
              <a:gd name="connsiteX1" fmla="*/ 2805290 w 2805290"/>
              <a:gd name="connsiteY1" fmla="*/ 0 h 4330699"/>
              <a:gd name="connsiteX2" fmla="*/ 1677529 w 2805290"/>
              <a:gd name="connsiteY2" fmla="*/ 4330699 h 4330699"/>
              <a:gd name="connsiteX3" fmla="*/ 0 w 2805290"/>
              <a:gd name="connsiteY3" fmla="*/ 4330699 h 4330699"/>
              <a:gd name="connsiteX4" fmla="*/ 0 w 2805290"/>
              <a:gd name="connsiteY4" fmla="*/ 0 h 4330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05290" h="4330699">
                <a:moveTo>
                  <a:pt x="0" y="0"/>
                </a:moveTo>
                <a:lnTo>
                  <a:pt x="2805290" y="0"/>
                </a:lnTo>
                <a:lnTo>
                  <a:pt x="1677529" y="4330699"/>
                </a:lnTo>
                <a:lnTo>
                  <a:pt x="0" y="4330699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6350">
            <a:noFill/>
            <a:miter lim="800000"/>
            <a:headEnd/>
            <a:tailEnd/>
          </a:ln>
          <a:effectLst/>
        </p:spPr>
        <p:txBody>
          <a:bodyPr lIns="216000" tIns="144000" rIns="216000" bIns="0" anchor="t"/>
          <a:lstStyle/>
          <a:p>
            <a:pPr>
              <a:lnSpc>
                <a:spcPct val="120000"/>
              </a:lnSpc>
              <a:spcAft>
                <a:spcPts val="1200"/>
              </a:spcAft>
              <a:buClr>
                <a:srgbClr val="000000"/>
              </a:buClr>
              <a:defRPr/>
            </a:pPr>
            <a:r>
              <a:rPr lang="en-US">
                <a:solidFill>
                  <a:schemeClr val="tx2"/>
                </a:solidFill>
              </a:rPr>
              <a:t>Text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D435FDA7-54F7-5FB4-9063-6A05C640EC6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51085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block, process, processes, step, steps, phase, phases, stage, stages</a:t>
            </a:r>
          </a:p>
        </p:txBody>
      </p:sp>
    </p:spTree>
    <p:extLst>
      <p:ext uri="{BB962C8B-B14F-4D97-AF65-F5344CB8AC3E}">
        <p14:creationId xmlns:p14="http://schemas.microsoft.com/office/powerpoint/2010/main" val="17476840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